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sldIdLst>
    <p:sldId id="256" r:id="rId2"/>
    <p:sldId id="270" r:id="rId3"/>
    <p:sldId id="271" r:id="rId4"/>
    <p:sldId id="272" r:id="rId5"/>
    <p:sldId id="260" r:id="rId6"/>
    <p:sldId id="262" r:id="rId7"/>
    <p:sldId id="258" r:id="rId8"/>
    <p:sldId id="273" r:id="rId9"/>
    <p:sldId id="275" r:id="rId10"/>
  </p:sldIdLst>
  <p:sldSz cx="9144000" cy="6858000" type="screen4x3"/>
  <p:notesSz cx="6797675" cy="9926638"/>
  <p:embeddedFontLst>
    <p:embeddedFont>
      <p:font typeface="_Entypo" panose="020B0604020202020204" charset="0"/>
      <p:regular r:id="rId11"/>
    </p:embeddedFon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Myriad Pro Cond" panose="020B0506030403020204" charset="0"/>
      <p:regular r:id="rId16"/>
      <p:bold r:id="rId17"/>
      <p:italic r:id="rId18"/>
      <p:boldItalic r:id="rId19"/>
    </p:embeddedFont>
    <p:embeddedFont>
      <p:font typeface="Tahoma" panose="020B0604030504040204" pitchFamily="34" charset="0"/>
      <p:regular r:id="rId20"/>
      <p:bold r:id="rId21"/>
    </p:embeddedFont>
    <p:embeddedFont>
      <p:font typeface="HeliosCond" panose="04000500000000000000" charset="-52"/>
      <p:regular r:id="rId22"/>
      <p:bold r:id="rId23"/>
      <p:italic r:id="rId24"/>
      <p:boldItalic r:id="rId25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207" userDrawn="1">
          <p15:clr>
            <a:srgbClr val="A4A3A4"/>
          </p15:clr>
        </p15:guide>
        <p15:guide id="2" pos="210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BDC0"/>
    <a:srgbClr val="820000"/>
    <a:srgbClr val="263354"/>
    <a:srgbClr val="405252"/>
    <a:srgbClr val="3B3B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Темный стиль 1 —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70" d="100"/>
          <a:sy n="70" d="100"/>
        </p:scale>
        <p:origin x="-234" y="-240"/>
      </p:cViewPr>
      <p:guideLst>
        <p:guide orient="horz" pos="1207"/>
        <p:guide pos="210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11.fntdata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font" Target="fonts/font15.fntdata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openxmlformats.org/officeDocument/2006/relationships/font" Target="fonts/font14.fntdata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39349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8223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81398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5541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0361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8610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404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353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2766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842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7759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5510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7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9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image" Target="../media/image8.png"/><Relationship Id="rId8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84760"/>
            <a:ext cx="9144000" cy="67324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550870" y="2864534"/>
            <a:ext cx="5857875" cy="41866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</a:rPr>
              <a:t>СТРОИТЕЛЬСТВО ЗАВОДА ПО ПРОИЗВОДСТВУ ЦЕМЕНТА</a:t>
            </a:r>
          </a:p>
          <a:p>
            <a:pPr algn="ctr"/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</a:rPr>
              <a:t>(1-я очередь)</a:t>
            </a:r>
            <a:endParaRPr lang="ru-RU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35067" y="5569766"/>
            <a:ext cx="8489483" cy="0"/>
          </a:xfrm>
          <a:prstGeom prst="line">
            <a:avLst/>
          </a:prstGeom>
          <a:ln w="158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52966" y="5689402"/>
            <a:ext cx="5157265" cy="32769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Инициатор проекта</a:t>
            </a:r>
            <a:r>
              <a:rPr lang="en-US" sz="1400" b="1" dirty="0">
                <a:solidFill>
                  <a:schemeClr val="accent3">
                    <a:lumMod val="50000"/>
                  </a:schemeClr>
                </a:solidFill>
              </a:rPr>
              <a:t>: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ООО 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</a:rPr>
              <a:t>«»</a:t>
            </a:r>
            <a:endParaRPr lang="ru-RU" sz="1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521345" y="4845532"/>
            <a:ext cx="2305052" cy="5584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3600" b="1" dirty="0">
                <a:solidFill>
                  <a:schemeClr val="accent3">
                    <a:lumMod val="50000"/>
                  </a:schemeClr>
                </a:solidFill>
              </a:rPr>
              <a:t>2020</a:t>
            </a:r>
            <a:endParaRPr lang="ru-RU" sz="3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63997" y="5687496"/>
            <a:ext cx="3962400" cy="33150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</a:rPr>
              <a:t>Калужская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область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0" y="6291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0" y="62679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765079" y="970687"/>
            <a:ext cx="3962400" cy="33150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ru-RU" sz="1400" b="1" i="1" dirty="0">
                <a:solidFill>
                  <a:srgbClr val="820000"/>
                </a:solidFill>
              </a:rPr>
              <a:t>МАКЕТ  ИНВЕСТИЦИОННОГО  ПРЕДЛОЖЕНИЯ</a:t>
            </a:r>
          </a:p>
        </p:txBody>
      </p:sp>
    </p:spTree>
    <p:extLst>
      <p:ext uri="{BB962C8B-B14F-4D97-AF65-F5344CB8AC3E}">
        <p14:creationId xmlns:p14="http://schemas.microsoft.com/office/powerpoint/2010/main" val="2404705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0" y="-2"/>
            <a:ext cx="9144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9388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РЕЗЮМЕ ПРОЕКТА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850053" y="876022"/>
            <a:ext cx="4231168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КЛЮЧЕВЫЕ ПОКАЗАТЕЛИ ПРОЕКТА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23132" y="4933771"/>
            <a:ext cx="4381915" cy="1386298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7,0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лрд.руб. – потребность в инвестициях</a:t>
            </a: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Форма инвестиций: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редит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а сумму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7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лрд.руб. на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7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лет со ставкой не более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8.5%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довых в рублях.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23133" y="4933770"/>
            <a:ext cx="437689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ПОТРЕБНОСТЬ В ИНВЕСТИЦИЯХ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23133" y="886896"/>
            <a:ext cx="4447221" cy="1694972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ется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вод по производству цемента.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сновные продукты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цемент. 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ощность: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,5 млн тонн в год.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3134" y="876022"/>
            <a:ext cx="444722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463" y="922838"/>
            <a:ext cx="317019" cy="31701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007" y="4970271"/>
            <a:ext cx="347502" cy="34750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3666" y="925909"/>
            <a:ext cx="317019" cy="310923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238958" y="2826327"/>
            <a:ext cx="4447221" cy="196914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endParaRPr lang="ru-RU" sz="105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8 %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емные средства;</a:t>
            </a:r>
          </a:p>
          <a:p>
            <a:pPr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62 % - уже вложенные средства;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endParaRPr lang="ru-RU" sz="105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52664" y="2846900"/>
            <a:ext cx="444722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СТРУКТУРА ИНВЕСТИЦИИ</a:t>
            </a: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88" y="2889695"/>
            <a:ext cx="317019" cy="317019"/>
          </a:xfrm>
          <a:prstGeom prst="rect">
            <a:avLst/>
          </a:prstGeom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798176"/>
              </p:ext>
            </p:extLst>
          </p:nvPr>
        </p:nvGraphicFramePr>
        <p:xfrm>
          <a:off x="4863759" y="1285323"/>
          <a:ext cx="4217462" cy="4806146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2866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3077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776186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Текущий статус 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троительство законсервировано, идет поиск инвестора</a:t>
                      </a:r>
                    </a:p>
                    <a:p>
                      <a:pPr algn="l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Готовность 55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2641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Ежегодная выручк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9,7 млрд 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31483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Общий объем инвестиций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44,4 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рд.руб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31483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EBITDA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,2</a:t>
                      </a:r>
                      <a:r>
                        <a:rPr lang="en-US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рд 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4205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ентабельность </a:t>
                      </a:r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EBITDA,</a:t>
                      </a:r>
                      <a:r>
                        <a:rPr lang="en-US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3,0</a:t>
                      </a:r>
                      <a:r>
                        <a:rPr lang="en-US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65741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NPV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5,4 млрд 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IRR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7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PI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,05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тавка дисконтирования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2,5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рок окупаемости</a:t>
                      </a:r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(DPBP)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7 лет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ериод планирования проект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-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рок строительства 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 лет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838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805497"/>
            <a:ext cx="9144000" cy="3771979"/>
          </a:xfrm>
          <a:prstGeom prst="rect">
            <a:avLst/>
          </a:prstGeom>
          <a:solidFill>
            <a:schemeClr val="bg1">
              <a:lumMod val="95000"/>
              <a:alpha val="55000"/>
            </a:schemeClr>
          </a:solidFill>
        </p:spPr>
        <p:txBody>
          <a:bodyPr wrap="square" lIns="108000" tIns="108000" rIns="324000" bIns="108000">
            <a:noAutofit/>
          </a:bodyPr>
          <a:lstStyle/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ется новый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вод по производству цемента.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ланируемый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рок ввода в эксплуатацию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022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д.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 состоянию на 2020 год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епень готовности объектов составляет 55%:</a:t>
            </a:r>
          </a:p>
          <a:p>
            <a:pPr marL="536575" indent="-268288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товность 90% - воздушная высоковольтная линия 110 </a:t>
            </a:r>
            <a:r>
              <a:rPr lang="ru-RU" sz="1100" dirty="0" err="1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В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тяженность 39 км) и подстанция 110/10 </a:t>
            </a:r>
            <a:r>
              <a:rPr lang="ru-RU" sz="1100" dirty="0" err="1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В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товность 60% - подъездная автодорога с двусторонним движением с присоединением к федеральной трассе M-3 (12 км); </a:t>
            </a:r>
          </a:p>
          <a:p>
            <a:pPr marL="536575" indent="-268288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товность 50% - подъездная железнодорожная ветка с присоединением к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ж/д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анции «Пробуждение» Московской железной дороги;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товность 15% - газораспределительная станция с подающим газопроводом (8 км)</a:t>
            </a:r>
          </a:p>
          <a:p>
            <a:pPr marL="268287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endParaRPr lang="en-US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ектом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едполагается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вершение строительства основных и вспомогательных производственных зданий и сооружений, административных и складских помещений и инфраструктуры; приобретение и монтаж оборудования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сновные потребители продукции проекта –расположенные на территории Центрального федерального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круга предприятия, занятые в отрасли строительства.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14325" y="172522"/>
            <a:ext cx="502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0" y="1830573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0" y="5577476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ятиугольник 30"/>
          <p:cNvSpPr/>
          <p:nvPr/>
        </p:nvSpPr>
        <p:spPr>
          <a:xfrm>
            <a:off x="215912" y="848796"/>
            <a:ext cx="2747539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11" y="925828"/>
            <a:ext cx="426070" cy="426070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707621" y="848795"/>
            <a:ext cx="2255830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Местонахождение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b="1" dirty="0" smtClean="0">
                <a:solidFill>
                  <a:schemeClr val="accent3">
                    <a:lumMod val="50000"/>
                  </a:schemeClr>
                </a:solidFill>
              </a:rPr>
              <a:t>Калужская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 область, 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114000"/>
              </a:lnSpc>
            </a:pPr>
            <a:r>
              <a:rPr lang="ru-RU" sz="1100" dirty="0" err="1" smtClean="0">
                <a:solidFill>
                  <a:schemeClr val="accent3">
                    <a:lumMod val="50000"/>
                  </a:schemeClr>
                </a:solidFill>
              </a:rPr>
              <a:t>Думиничский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район</a:t>
            </a:r>
          </a:p>
        </p:txBody>
      </p:sp>
      <p:sp>
        <p:nvSpPr>
          <p:cNvPr id="37" name="Пятиугольник 36"/>
          <p:cNvSpPr/>
          <p:nvPr/>
        </p:nvSpPr>
        <p:spPr>
          <a:xfrm>
            <a:off x="3178708" y="848797"/>
            <a:ext cx="2586771" cy="870946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671072" y="848795"/>
            <a:ext cx="2094407" cy="699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Отрасль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/>
            </a:r>
            <a:br>
              <a:rPr lang="ru-RU" sz="1100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цементная промышленность 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0567" y="912566"/>
            <a:ext cx="307472" cy="307472"/>
          </a:xfrm>
          <a:prstGeom prst="rect">
            <a:avLst/>
          </a:prstGeom>
        </p:spPr>
      </p:pic>
      <p:sp>
        <p:nvSpPr>
          <p:cNvPr id="40" name="Пятиугольник 39"/>
          <p:cNvSpPr/>
          <p:nvPr/>
        </p:nvSpPr>
        <p:spPr>
          <a:xfrm>
            <a:off x="5984191" y="848796"/>
            <a:ext cx="2933306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6473100" y="848795"/>
            <a:ext cx="2444397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Тип проекта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Создание нового производства</a:t>
            </a: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0015" y="885916"/>
            <a:ext cx="369680" cy="36968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2639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Группа 49"/>
          <p:cNvGrpSpPr/>
          <p:nvPr/>
        </p:nvGrpSpPr>
        <p:grpSpPr>
          <a:xfrm>
            <a:off x="204070" y="794020"/>
            <a:ext cx="8932609" cy="5853643"/>
            <a:chOff x="204070" y="794020"/>
            <a:chExt cx="8932609" cy="5853643"/>
          </a:xfrm>
        </p:grpSpPr>
        <p:pic>
          <p:nvPicPr>
            <p:cNvPr id="51" name="Рисунок 50"/>
            <p:cNvPicPr>
              <a:picLocks noChangeAspect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98539" y="1847596"/>
              <a:ext cx="5230445" cy="4800067"/>
            </a:xfrm>
            <a:prstGeom prst="rect">
              <a:avLst/>
            </a:prstGeom>
          </p:spPr>
        </p:pic>
        <p:grpSp>
          <p:nvGrpSpPr>
            <p:cNvPr id="52" name="Группа 51"/>
            <p:cNvGrpSpPr/>
            <p:nvPr/>
          </p:nvGrpSpPr>
          <p:grpSpPr>
            <a:xfrm>
              <a:off x="204070" y="794020"/>
              <a:ext cx="4733777" cy="3679772"/>
              <a:chOff x="204070" y="794020"/>
              <a:chExt cx="4733777" cy="3679772"/>
            </a:xfrm>
          </p:grpSpPr>
          <p:pic>
            <p:nvPicPr>
              <p:cNvPr id="60" name="Рисунок 59"/>
              <p:cNvPicPr>
                <a:picLocks noChangeAspect="1"/>
              </p:cNvPicPr>
              <p:nvPr>
                <p:custDataLst>
                  <p:tags r:id="rId1"/>
                </p:custDataLst>
              </p:nvPr>
            </p:nvPicPr>
            <p:blipFill>
              <a:blip r:embed="rId3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4070" y="794020"/>
                <a:ext cx="3817735" cy="1951860"/>
              </a:xfrm>
              <a:prstGeom prst="rect">
                <a:avLst/>
              </a:prstGeom>
            </p:spPr>
          </p:pic>
          <p:pic>
            <p:nvPicPr>
              <p:cNvPr id="61" name="Рисунок 60"/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>
              <a:blip r:embed="rId3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61593" y="1847596"/>
                <a:ext cx="2723455" cy="2238966"/>
              </a:xfrm>
              <a:prstGeom prst="rect">
                <a:avLst/>
              </a:prstGeom>
            </p:spPr>
          </p:pic>
          <p:sp>
            <p:nvSpPr>
              <p:cNvPr id="62" name="Овал 61"/>
              <p:cNvSpPr/>
              <p:nvPr>
                <p:custDataLst>
                  <p:tags r:id="rId3"/>
                </p:custDataLst>
              </p:nvPr>
            </p:nvSpPr>
            <p:spPr>
              <a:xfrm>
                <a:off x="3997149" y="2579364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3" name="Овал 62"/>
              <p:cNvSpPr/>
              <p:nvPr>
                <p:custDataLst>
                  <p:tags r:id="rId4"/>
                </p:custDataLst>
              </p:nvPr>
            </p:nvSpPr>
            <p:spPr>
              <a:xfrm>
                <a:off x="3873131" y="2756132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4" name="Овал 63"/>
              <p:cNvSpPr/>
              <p:nvPr>
                <p:custDataLst>
                  <p:tags r:id="rId5"/>
                </p:custDataLst>
              </p:nvPr>
            </p:nvSpPr>
            <p:spPr>
              <a:xfrm>
                <a:off x="3634728" y="2820805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5" name="Овал 64"/>
              <p:cNvSpPr/>
              <p:nvPr>
                <p:custDataLst>
                  <p:tags r:id="rId6"/>
                </p:custDataLst>
              </p:nvPr>
            </p:nvSpPr>
            <p:spPr>
              <a:xfrm>
                <a:off x="3238613" y="3527811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6" name="Овал 65"/>
              <p:cNvSpPr/>
              <p:nvPr>
                <p:custDataLst>
                  <p:tags r:id="rId7"/>
                </p:custDataLst>
              </p:nvPr>
            </p:nvSpPr>
            <p:spPr>
              <a:xfrm>
                <a:off x="3076422" y="2934743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7" name="Овал 66"/>
              <p:cNvSpPr/>
              <p:nvPr>
                <p:custDataLst>
                  <p:tags r:id="rId8"/>
                </p:custDataLst>
              </p:nvPr>
            </p:nvSpPr>
            <p:spPr>
              <a:xfrm>
                <a:off x="2954067" y="2685410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8" name="Овал 67"/>
              <p:cNvSpPr/>
              <p:nvPr>
                <p:custDataLst>
                  <p:tags r:id="rId9"/>
                </p:custDataLst>
              </p:nvPr>
            </p:nvSpPr>
            <p:spPr>
              <a:xfrm>
                <a:off x="3354672" y="2233664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9" name="Овал 68"/>
              <p:cNvSpPr/>
              <p:nvPr>
                <p:custDataLst>
                  <p:tags r:id="rId10"/>
                </p:custDataLst>
              </p:nvPr>
            </p:nvSpPr>
            <p:spPr>
              <a:xfrm>
                <a:off x="2669522" y="2298337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0" name="Овал 69"/>
              <p:cNvSpPr/>
              <p:nvPr>
                <p:custDataLst>
                  <p:tags r:id="rId11"/>
                </p:custDataLst>
              </p:nvPr>
            </p:nvSpPr>
            <p:spPr>
              <a:xfrm>
                <a:off x="2552731" y="2750083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1" name="Овал 70"/>
              <p:cNvSpPr/>
              <p:nvPr>
                <p:custDataLst>
                  <p:tags r:id="rId12"/>
                </p:custDataLst>
              </p:nvPr>
            </p:nvSpPr>
            <p:spPr>
              <a:xfrm>
                <a:off x="2707554" y="2981565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2" name="Овал 71"/>
              <p:cNvSpPr/>
              <p:nvPr>
                <p:custDataLst>
                  <p:tags r:id="rId13"/>
                </p:custDataLst>
              </p:nvPr>
            </p:nvSpPr>
            <p:spPr>
              <a:xfrm>
                <a:off x="2484229" y="3192598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3" name="Овал 72"/>
              <p:cNvSpPr/>
              <p:nvPr>
                <p:custDataLst>
                  <p:tags r:id="rId14"/>
                </p:custDataLst>
              </p:nvPr>
            </p:nvSpPr>
            <p:spPr>
              <a:xfrm>
                <a:off x="2419556" y="3439864"/>
                <a:ext cx="64673" cy="64673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4" name="TextBox 73"/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3629342" y="2284953"/>
                <a:ext cx="622286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Ярославль</a:t>
                </a:r>
              </a:p>
            </p:txBody>
          </p:sp>
          <p:sp>
            <p:nvSpPr>
              <p:cNvPr id="75" name="TextBox 74"/>
              <p:cNvSpPr txBox="1"/>
              <p:nvPr>
                <p:custDataLst>
                  <p:tags r:id="rId16"/>
                </p:custDataLst>
              </p:nvPr>
            </p:nvSpPr>
            <p:spPr>
              <a:xfrm>
                <a:off x="3994768" y="2486129"/>
                <a:ext cx="599844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Кострома</a:t>
                </a:r>
              </a:p>
            </p:txBody>
          </p:sp>
          <p:sp>
            <p:nvSpPr>
              <p:cNvPr id="76" name="TextBox 75"/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3391205" y="2944009"/>
                <a:ext cx="47481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Рязань</a:t>
                </a:r>
              </a:p>
            </p:txBody>
          </p:sp>
          <p:sp>
            <p:nvSpPr>
              <p:cNvPr id="77" name="TextBox 76"/>
              <p:cNvSpPr txBox="1"/>
              <p:nvPr>
                <p:custDataLst>
                  <p:tags r:id="rId18"/>
                </p:custDataLst>
              </p:nvPr>
            </p:nvSpPr>
            <p:spPr>
              <a:xfrm>
                <a:off x="3037074" y="3237885"/>
                <a:ext cx="489236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Липецк</a:t>
                </a:r>
              </a:p>
            </p:txBody>
          </p:sp>
          <p:sp>
            <p:nvSpPr>
              <p:cNvPr id="78" name="TextBox 77"/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2547663" y="3505597"/>
                <a:ext cx="55496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Воронеж</a:t>
                </a:r>
              </a:p>
            </p:txBody>
          </p:sp>
          <p:sp>
            <p:nvSpPr>
              <p:cNvPr id="79" name="TextBox 78"/>
              <p:cNvSpPr txBox="1"/>
              <p:nvPr>
                <p:custDataLst>
                  <p:tags r:id="rId20"/>
                </p:custDataLst>
              </p:nvPr>
            </p:nvSpPr>
            <p:spPr>
              <a:xfrm>
                <a:off x="3246233" y="3428658"/>
                <a:ext cx="495649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Тамбов</a:t>
                </a:r>
              </a:p>
            </p:txBody>
          </p:sp>
          <p:sp>
            <p:nvSpPr>
              <p:cNvPr id="80" name="TextBox 79"/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3178972" y="2039208"/>
                <a:ext cx="42832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Тверь</a:t>
                </a:r>
              </a:p>
            </p:txBody>
          </p:sp>
          <p:sp>
            <p:nvSpPr>
              <p:cNvPr id="81" name="TextBox 80"/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2272926" y="2104673"/>
                <a:ext cx="583814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Смоленск</a:t>
                </a:r>
              </a:p>
            </p:txBody>
          </p:sp>
          <p:sp>
            <p:nvSpPr>
              <p:cNvPr id="82" name="TextBox 81"/>
              <p:cNvSpPr txBox="1"/>
              <p:nvPr>
                <p:custDataLst>
                  <p:tags r:id="rId23"/>
                </p:custDataLst>
              </p:nvPr>
            </p:nvSpPr>
            <p:spPr>
              <a:xfrm>
                <a:off x="2159760" y="2640479"/>
                <a:ext cx="473206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Брянск</a:t>
                </a:r>
              </a:p>
            </p:txBody>
          </p:sp>
          <p:sp>
            <p:nvSpPr>
              <p:cNvPr id="83" name="TextBox 82"/>
              <p:cNvSpPr txBox="1"/>
              <p:nvPr>
                <p:custDataLst>
                  <p:tags r:id="rId24"/>
                </p:custDataLst>
              </p:nvPr>
            </p:nvSpPr>
            <p:spPr>
              <a:xfrm>
                <a:off x="2670600" y="2675940"/>
                <a:ext cx="45878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Калуга</a:t>
                </a:r>
              </a:p>
            </p:txBody>
          </p:sp>
          <p:sp>
            <p:nvSpPr>
              <p:cNvPr id="84" name="TextBox 83"/>
              <p:cNvSpPr txBox="1"/>
              <p:nvPr>
                <p:custDataLst>
                  <p:tags r:id="rId25"/>
                </p:custDataLst>
              </p:nvPr>
            </p:nvSpPr>
            <p:spPr>
              <a:xfrm>
                <a:off x="3071364" y="2828945"/>
                <a:ext cx="370614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Тула</a:t>
                </a:r>
              </a:p>
            </p:txBody>
          </p:sp>
          <p:sp>
            <p:nvSpPr>
              <p:cNvPr id="85" name="TextBox 84"/>
              <p:cNvSpPr txBox="1"/>
              <p:nvPr>
                <p:custDataLst>
                  <p:tags r:id="rId26"/>
                </p:custDataLst>
              </p:nvPr>
            </p:nvSpPr>
            <p:spPr>
              <a:xfrm>
                <a:off x="3634728" y="2759095"/>
                <a:ext cx="60946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Владимир</a:t>
                </a:r>
              </a:p>
            </p:txBody>
          </p:sp>
          <p:sp>
            <p:nvSpPr>
              <p:cNvPr id="86" name="TextBox 85"/>
              <p:cNvSpPr txBox="1"/>
              <p:nvPr>
                <p:custDataLst>
                  <p:tags r:id="rId27"/>
                </p:custDataLst>
              </p:nvPr>
            </p:nvSpPr>
            <p:spPr>
              <a:xfrm>
                <a:off x="3878310" y="2652958"/>
                <a:ext cx="543739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Иваново</a:t>
                </a:r>
              </a:p>
            </p:txBody>
          </p:sp>
          <p:sp>
            <p:nvSpPr>
              <p:cNvPr id="87" name="TextBox 86"/>
              <p:cNvSpPr txBox="1"/>
              <p:nvPr>
                <p:custDataLst>
                  <p:tags r:id="rId28"/>
                </p:custDataLst>
              </p:nvPr>
            </p:nvSpPr>
            <p:spPr>
              <a:xfrm>
                <a:off x="2550198" y="2991752"/>
                <a:ext cx="38985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Орёл</a:t>
                </a:r>
              </a:p>
            </p:txBody>
          </p:sp>
          <p:sp>
            <p:nvSpPr>
              <p:cNvPr id="88" name="TextBox 87"/>
              <p:cNvSpPr txBox="1"/>
              <p:nvPr>
                <p:custDataLst>
                  <p:tags r:id="rId29"/>
                </p:custDataLst>
              </p:nvPr>
            </p:nvSpPr>
            <p:spPr>
              <a:xfrm>
                <a:off x="2128297" y="3088537"/>
                <a:ext cx="415498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Курск</a:t>
                </a:r>
              </a:p>
            </p:txBody>
          </p:sp>
          <p:sp>
            <p:nvSpPr>
              <p:cNvPr id="89" name="TextBox 88"/>
              <p:cNvSpPr txBox="1"/>
              <p:nvPr>
                <p:custDataLst>
                  <p:tags r:id="rId30"/>
                </p:custDataLst>
              </p:nvPr>
            </p:nvSpPr>
            <p:spPr>
              <a:xfrm>
                <a:off x="1994701" y="3247243"/>
                <a:ext cx="574196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00" dirty="0">
                    <a:latin typeface="Myriad Pro Cond" pitchFamily="34" charset="0"/>
                  </a:rPr>
                  <a:t>Белгород</a:t>
                </a:r>
              </a:p>
            </p:txBody>
          </p:sp>
          <p:sp>
            <p:nvSpPr>
              <p:cNvPr id="90" name="Овал 89"/>
              <p:cNvSpPr/>
              <p:nvPr>
                <p:custDataLst>
                  <p:tags r:id="rId31"/>
                </p:custDataLst>
              </p:nvPr>
            </p:nvSpPr>
            <p:spPr>
              <a:xfrm>
                <a:off x="1953393" y="1489338"/>
                <a:ext cx="2984454" cy="2984454"/>
              </a:xfrm>
              <a:prstGeom prst="ellips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91" name="Прямая соединительная линия 90"/>
              <p:cNvCxnSpPr/>
              <p:nvPr>
                <p:custDataLst>
                  <p:tags r:id="rId32"/>
                </p:custDataLst>
              </p:nvPr>
            </p:nvCxnSpPr>
            <p:spPr>
              <a:xfrm>
                <a:off x="976624" y="1982871"/>
                <a:ext cx="1199276" cy="1796559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Прямая соединительная линия 91"/>
              <p:cNvCxnSpPr/>
              <p:nvPr/>
            </p:nvCxnSpPr>
            <p:spPr>
              <a:xfrm flipV="1">
                <a:off x="984935" y="1519346"/>
                <a:ext cx="2191473" cy="463526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Овал 92"/>
              <p:cNvSpPr/>
              <p:nvPr/>
            </p:nvSpPr>
            <p:spPr>
              <a:xfrm>
                <a:off x="2934571" y="2659953"/>
                <a:ext cx="105536" cy="109740"/>
              </a:xfrm>
              <a:prstGeom prst="ellipse">
                <a:avLst/>
              </a:prstGeom>
              <a:solidFill>
                <a:schemeClr val="tx2">
                  <a:lumMod val="75000"/>
                </a:schemeClr>
              </a:solidFill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3195244" y="2605130"/>
                <a:ext cx="246734" cy="158459"/>
              </a:xfrm>
              <a:prstGeom prst="rect">
                <a:avLst/>
              </a:prstGeom>
              <a:solidFill>
                <a:srgbClr val="BCBD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53" name="Группа 52"/>
            <p:cNvGrpSpPr/>
            <p:nvPr/>
          </p:nvGrpSpPr>
          <p:grpSpPr>
            <a:xfrm>
              <a:off x="6710601" y="1044300"/>
              <a:ext cx="2426078" cy="1104726"/>
              <a:chOff x="3114582" y="1489132"/>
              <a:chExt cx="2426078" cy="1104726"/>
            </a:xfrm>
          </p:grpSpPr>
          <p:sp>
            <p:nvSpPr>
              <p:cNvPr id="58" name="Прямоугольник 57"/>
              <p:cNvSpPr/>
              <p:nvPr/>
            </p:nvSpPr>
            <p:spPr>
              <a:xfrm>
                <a:off x="3358652" y="1489132"/>
                <a:ext cx="2182008" cy="76944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14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более </a:t>
                </a:r>
                <a:r>
                  <a:rPr lang="ru-RU" sz="4400" b="1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1</a:t>
                </a:r>
                <a:r>
                  <a:rPr lang="ru-RU" sz="2000" b="1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ru-RU" sz="14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трлн</a:t>
                </a:r>
                <a:r>
                  <a:rPr lang="ru-RU" sz="20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ru-RU" sz="1400" b="1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руб.</a:t>
                </a:r>
                <a:endParaRPr lang="en-US" sz="14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3114582" y="2162971"/>
                <a:ext cx="2231666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1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объем инвестиций </a:t>
                </a:r>
              </a:p>
              <a:p>
                <a:pPr algn="ctr"/>
                <a:r>
                  <a:rPr lang="ru-RU" sz="11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с </a:t>
                </a:r>
                <a:r>
                  <a:rPr lang="en-US" sz="11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2006</a:t>
                </a:r>
                <a:r>
                  <a:rPr lang="ru-RU" sz="11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 года</a:t>
                </a:r>
              </a:p>
            </p:txBody>
          </p:sp>
        </p:grpSp>
        <p:grpSp>
          <p:nvGrpSpPr>
            <p:cNvPr id="54" name="Группа 53"/>
            <p:cNvGrpSpPr/>
            <p:nvPr/>
          </p:nvGrpSpPr>
          <p:grpSpPr>
            <a:xfrm>
              <a:off x="5228928" y="1044300"/>
              <a:ext cx="1616879" cy="1274003"/>
              <a:chOff x="605884" y="2717162"/>
              <a:chExt cx="1616879" cy="1274003"/>
            </a:xfrm>
          </p:grpSpPr>
          <p:sp>
            <p:nvSpPr>
              <p:cNvPr id="56" name="Прямоугольник 55"/>
              <p:cNvSpPr/>
              <p:nvPr/>
            </p:nvSpPr>
            <p:spPr>
              <a:xfrm>
                <a:off x="783381" y="2717162"/>
                <a:ext cx="1261884" cy="76944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4400" b="1" dirty="0" smtClean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212</a:t>
                </a:r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605884" y="3391001"/>
                <a:ext cx="1616879" cy="60016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1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инвестиционных</a:t>
                </a:r>
                <a:endParaRPr lang="en-US" sz="1100" dirty="0"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  <a:p>
                <a:pPr algn="ctr"/>
                <a:r>
                  <a:rPr lang="ru-RU" sz="11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проектов</a:t>
                </a:r>
              </a:p>
              <a:p>
                <a:pPr algn="ctr"/>
                <a:r>
                  <a:rPr lang="ru-RU" sz="1100" dirty="0"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реализуется</a:t>
                </a:r>
                <a:endParaRPr lang="en-US" sz="1100" dirty="0"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</p:grpSp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4" y="172522"/>
            <a:ext cx="58521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ЕСТОПОЛОЖЕНИЕ ПРОЕКТА,  ГРАФИК РЕАЛИЗАЦИИ </a:t>
            </a:r>
          </a:p>
        </p:txBody>
      </p:sp>
      <p:sp>
        <p:nvSpPr>
          <p:cNvPr id="36" name="Пятиугольник 35"/>
          <p:cNvSpPr/>
          <p:nvPr/>
        </p:nvSpPr>
        <p:spPr>
          <a:xfrm>
            <a:off x="1864268" y="5506603"/>
            <a:ext cx="1905000" cy="986058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Приобретение и монтаж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необходимого технологического </a:t>
            </a:r>
            <a:r>
              <a:rPr lang="ru-RU" sz="1000" dirty="0" err="1" smtClean="0">
                <a:solidFill>
                  <a:schemeClr val="tx1"/>
                </a:solidFill>
              </a:rPr>
              <a:t>обрудования</a:t>
            </a:r>
            <a:r>
              <a:rPr lang="ru-RU" sz="1000" dirty="0" smtClean="0">
                <a:solidFill>
                  <a:schemeClr val="tx1"/>
                </a:solidFill>
              </a:rPr>
              <a:t>.</a:t>
            </a:r>
            <a:endParaRPr lang="ru-RU" sz="1000" dirty="0">
              <a:solidFill>
                <a:schemeClr val="tx1"/>
              </a:solidFill>
            </a:endParaRPr>
          </a:p>
          <a:p>
            <a:r>
              <a:rPr lang="ru-RU" sz="1000" dirty="0">
                <a:solidFill>
                  <a:schemeClr val="tx1"/>
                </a:solidFill>
              </a:rPr>
              <a:t>Увеличение мощности инженерных сетей</a:t>
            </a:r>
          </a:p>
          <a:p>
            <a:r>
              <a:rPr lang="ru-RU" sz="1000" dirty="0">
                <a:solidFill>
                  <a:schemeClr val="tx1"/>
                </a:solidFill>
              </a:rPr>
              <a:t>Привлечение финансирования</a:t>
            </a:r>
          </a:p>
        </p:txBody>
      </p:sp>
      <p:sp>
        <p:nvSpPr>
          <p:cNvPr id="38" name="Пятиугольник 37"/>
          <p:cNvSpPr/>
          <p:nvPr/>
        </p:nvSpPr>
        <p:spPr>
          <a:xfrm>
            <a:off x="3391350" y="4562002"/>
            <a:ext cx="1309734" cy="990264"/>
          </a:xfrm>
          <a:prstGeom prst="homePlate">
            <a:avLst>
              <a:gd name="adj" fmla="val 1569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Ввод в эксплуатацию завода.</a:t>
            </a:r>
          </a:p>
          <a:p>
            <a:r>
              <a:rPr lang="ru-RU" sz="1000" dirty="0">
                <a:solidFill>
                  <a:schemeClr val="tx1"/>
                </a:solidFill>
              </a:rPr>
              <a:t>Начало выпуска продукции</a:t>
            </a:r>
          </a:p>
        </p:txBody>
      </p:sp>
      <p:sp>
        <p:nvSpPr>
          <p:cNvPr id="40" name="Пятиугольник 39"/>
          <p:cNvSpPr/>
          <p:nvPr/>
        </p:nvSpPr>
        <p:spPr>
          <a:xfrm>
            <a:off x="4825569" y="5557948"/>
            <a:ext cx="1020599" cy="656887"/>
          </a:xfrm>
          <a:prstGeom prst="homePlate">
            <a:avLst>
              <a:gd name="adj" fmla="val 17353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Выход на проектную мощность</a:t>
            </a:r>
          </a:p>
        </p:txBody>
      </p:sp>
      <p:sp>
        <p:nvSpPr>
          <p:cNvPr id="26" name="Стрелка вправо 25"/>
          <p:cNvSpPr/>
          <p:nvPr/>
        </p:nvSpPr>
        <p:spPr>
          <a:xfrm>
            <a:off x="171451" y="4134188"/>
            <a:ext cx="5888155" cy="571500"/>
          </a:xfrm>
          <a:prstGeom prst="rightArrow">
            <a:avLst>
              <a:gd name="adj1" fmla="val 70000"/>
              <a:gd name="adj2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609600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0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998821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388042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2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777263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3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5" name="Пятиугольник 54"/>
          <p:cNvSpPr/>
          <p:nvPr/>
        </p:nvSpPr>
        <p:spPr>
          <a:xfrm>
            <a:off x="437064" y="4636686"/>
            <a:ext cx="1309734" cy="990264"/>
          </a:xfrm>
          <a:prstGeom prst="homePlate">
            <a:avLst>
              <a:gd name="adj" fmla="val 1569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Строительство основных и вспомогательных зданий и сооружений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2682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0146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БЗОР ОТРАСЛ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14325" y="886897"/>
            <a:ext cx="8678673" cy="1180028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108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еализация национального проекта «Жильё и городская среда»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близость крупного центра потребления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вышение спроса на цемент на рынке ЦФО</a:t>
            </a:r>
          </a:p>
          <a:p>
            <a:pPr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endParaRPr lang="ru-RU" sz="105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14324" y="2262626"/>
            <a:ext cx="8678674" cy="1378836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108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0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лет работы завода в 2 линии обеспечены запасами </a:t>
            </a:r>
            <a:r>
              <a:rPr lang="ru-RU" sz="1050" dirty="0" err="1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оторьского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месторождения строительных известняков в </a:t>
            </a:r>
            <a:r>
              <a:rPr lang="ru-RU" sz="1050" dirty="0" err="1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Думиничском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районе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Кадры: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&gt; 1 млн чел. проживает в регионе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0 млн чел. – в радиусе 180 км 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38 млн чел. – в радиусе 600 км (26% населения России)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1655821"/>
              </p:ext>
            </p:extLst>
          </p:nvPr>
        </p:nvGraphicFramePr>
        <p:xfrm>
          <a:off x="314323" y="4023270"/>
          <a:ext cx="8678673" cy="805708"/>
        </p:xfrm>
        <a:graphic>
          <a:graphicData uri="http://schemas.openxmlformats.org/drawingml/2006/table">
            <a:tbl>
              <a:tblPr bandRow="1">
                <a:tableStyleId>{00A15C55-8517-42AA-B614-E9B94910E393}</a:tableStyleId>
              </a:tblPr>
              <a:tblGrid>
                <a:gridCol w="541604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2626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02788">
                <a:tc>
                  <a:txBody>
                    <a:bodyPr/>
                    <a:lstStyle/>
                    <a:p>
                      <a:r>
                        <a:rPr lang="ru-RU" sz="105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редприятия строительной отрасли ЦФО</a:t>
                      </a:r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8079">
                <a:tc>
                  <a:txBody>
                    <a:bodyPr/>
                    <a:lstStyle/>
                    <a:p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8079">
                <a:tc>
                  <a:txBody>
                    <a:bodyPr/>
                    <a:lstStyle/>
                    <a:p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314325" y="881357"/>
            <a:ext cx="8678674" cy="323521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КЛЮЧЕВЫЕ ФАКТОРЫ РОСТ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685" y="914277"/>
            <a:ext cx="280133" cy="271551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TextBox 35"/>
          <p:cNvSpPr txBox="1"/>
          <p:nvPr/>
        </p:nvSpPr>
        <p:spPr>
          <a:xfrm>
            <a:off x="314324" y="1973653"/>
            <a:ext cx="8678673" cy="323187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БЕСПЕЧЕННОСТЬ РЕСУРСАМИ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317" y="2011091"/>
            <a:ext cx="280133" cy="271551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TextBox 36"/>
          <p:cNvSpPr txBox="1"/>
          <p:nvPr/>
        </p:nvSpPr>
        <p:spPr>
          <a:xfrm>
            <a:off x="314323" y="3651058"/>
            <a:ext cx="8678673" cy="37220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ПОТЕНЦИАЛЬНЫЕ ПОТРЕБИТЕЛИ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879" y="3706704"/>
            <a:ext cx="236571" cy="254773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958" y="4379978"/>
            <a:ext cx="8682038" cy="236372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449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27717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АРКЕТИНГОВЫЙ ПЛАН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0" y="1708128"/>
            <a:ext cx="9144000" cy="1653144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en-US" sz="105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en-US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en-US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алужская область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убъекты ЦФО: Москва и Московская область, Калужская область, Смоленская область, Брянская область, Ярославская область, Курская область, Рязанская область, Воронежская область, Орловская область, Тверская область, Тульская область, Владимирская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бласть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0" y="3540942"/>
            <a:ext cx="9144000" cy="1793058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	</a:t>
            </a:r>
            <a:endParaRPr lang="ru-RU" sz="105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автомобильным транспортом – 65%; 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железнодорожным транспортом – 35%;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тгрузка большей части продукции «навалом»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едусмотрена отгрузка в мешки и мягкие контейнеры типа «</a:t>
            </a:r>
            <a:r>
              <a:rPr lang="ru-RU" sz="105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биг-бэг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»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0" y="1708128"/>
            <a:ext cx="9144000" cy="36992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ГРУППЫ ПОТРЕБИТЕЛЕЙ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295" y="1758132"/>
            <a:ext cx="332905" cy="279961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TextBox 25"/>
          <p:cNvSpPr txBox="1"/>
          <p:nvPr/>
        </p:nvSpPr>
        <p:spPr>
          <a:xfrm>
            <a:off x="0" y="3540942"/>
            <a:ext cx="9144000" cy="36992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КАНАЛЫ СБЫТА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70" y="3566049"/>
            <a:ext cx="329030" cy="317233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Прямоугольник 12"/>
          <p:cNvSpPr/>
          <p:nvPr/>
        </p:nvSpPr>
        <p:spPr>
          <a:xfrm>
            <a:off x="0" y="714374"/>
            <a:ext cx="9144000" cy="100619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en-US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изводительность печи завода – 8500 тонн клинкера в сутки. 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изводительность цемента – в пределах 3,5 миллиона тонн в год.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изводство цемента марок </a:t>
            </a:r>
            <a:r>
              <a:rPr lang="ru-RU" sz="1050" dirty="0" err="1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em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I </a:t>
            </a:r>
            <a:r>
              <a:rPr lang="ru-RU" sz="1050" dirty="0" err="1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em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II.</a:t>
            </a:r>
          </a:p>
          <a:p>
            <a:pPr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0743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848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ПРЕДЛОЖЕНИЕ  ИНВЕСТОРУ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495470" y="886896"/>
            <a:ext cx="2143536" cy="10341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rgbClr val="820000"/>
                </a:solidFill>
              </a:rPr>
              <a:t>17,0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млрд. руб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потребность в финансировании</a:t>
            </a:r>
            <a:endParaRPr lang="en-US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проект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14326" y="4787589"/>
            <a:ext cx="8505824" cy="1506118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Долевое участие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14325" y="4787588"/>
            <a:ext cx="8505828" cy="405012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УСЛОВИЯ УЧАСТИЯ В ПРОЕКТ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725" y="4819391"/>
            <a:ext cx="341406" cy="341406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2752271" y="2490630"/>
            <a:ext cx="201850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5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лет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стой срок окупаемости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 (PBP)</a:t>
            </a:r>
            <a:endParaRPr lang="ru-RU" sz="11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752271" y="3578205"/>
            <a:ext cx="229582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4400" b="1" dirty="0" smtClean="0">
                <a:solidFill>
                  <a:schemeClr val="accent3">
                    <a:lumMod val="50000"/>
                  </a:schemeClr>
                </a:solidFill>
              </a:rPr>
              <a:t>7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лет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дисконтированный срок окупаемости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14325" y="3591052"/>
            <a:ext cx="2206053" cy="4939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b="1" dirty="0" smtClean="0">
                <a:solidFill>
                  <a:schemeClr val="accent3">
                    <a:lumMod val="50000"/>
                  </a:schemeClr>
                </a:solidFill>
              </a:rPr>
              <a:t>17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%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внутренняя норма доходности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IRR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14325" y="2504480"/>
            <a:ext cx="2292615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5,4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млрд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руб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чистая приведенная стоимость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NPV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466725" y="4604807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5235758" y="2491800"/>
            <a:ext cx="1441420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2</a:t>
            </a:r>
            <a:r>
              <a:rPr lang="en-US" sz="4400" b="1" dirty="0" smtClean="0">
                <a:solidFill>
                  <a:schemeClr val="accent3">
                    <a:lumMod val="50000"/>
                  </a:schemeClr>
                </a:solidFill>
              </a:rPr>
              <a:t>,2</a:t>
            </a:r>
            <a:r>
              <a:rPr lang="ru-RU" sz="1200" b="1" dirty="0" smtClean="0">
                <a:solidFill>
                  <a:srgbClr val="526DB0">
                    <a:lumMod val="50000"/>
                  </a:srgbClr>
                </a:solidFill>
              </a:rPr>
              <a:t>млрд </a:t>
            </a:r>
            <a:r>
              <a:rPr lang="ru-RU" sz="1200" b="1" dirty="0">
                <a:solidFill>
                  <a:srgbClr val="526DB0">
                    <a:lumMod val="50000"/>
                  </a:srgbClr>
                </a:solidFill>
              </a:rPr>
              <a:t>руб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EBITDA</a:t>
            </a:r>
            <a:endParaRPr lang="ru-RU" sz="11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205107" y="3577931"/>
            <a:ext cx="753732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4400" b="1" dirty="0" smtClean="0">
                <a:solidFill>
                  <a:schemeClr val="accent3">
                    <a:lumMod val="50000"/>
                  </a:schemeClr>
                </a:solidFill>
              </a:rPr>
              <a:t>23</a:t>
            </a:r>
            <a:endParaRPr lang="ru-RU" sz="4400" b="1" dirty="0" smtClean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100" b="1" dirty="0" smtClean="0">
                <a:solidFill>
                  <a:schemeClr val="accent3">
                    <a:lumMod val="50000"/>
                  </a:schemeClr>
                </a:solidFill>
              </a:rPr>
              <a:t>EBITDA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, %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131911" y="3593380"/>
            <a:ext cx="1111202" cy="8679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,05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200" b="1" dirty="0">
                <a:solidFill>
                  <a:schemeClr val="accent3">
                    <a:lumMod val="50000"/>
                  </a:schemeClr>
                </a:solidFill>
              </a:rPr>
              <a:t>PI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450249" y="2257023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6832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7309851"/>
              </p:ext>
            </p:extLst>
          </p:nvPr>
        </p:nvGraphicFramePr>
        <p:xfrm>
          <a:off x="484909" y="786640"/>
          <a:ext cx="8427079" cy="5827587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483168"/>
                <a:gridCol w="1358490"/>
                <a:gridCol w="1517753"/>
                <a:gridCol w="1424831"/>
                <a:gridCol w="1271457"/>
                <a:gridCol w="1371380"/>
              </a:tblGrid>
              <a:tr h="583570"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/>
                        <a:t>Налог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/>
                        <a:t>Реестр  инвестиционных проектов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ОСЭР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ЭЗ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ИК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ИП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142177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3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(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2 %</a:t>
                      </a:r>
                      <a:r>
                        <a:rPr lang="ru-RU" sz="1100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</a:t>
                      </a: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с 2025 года)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в течение 5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3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(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2 % </a:t>
                      </a: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с 2025 года)</a:t>
                      </a:r>
                      <a:endParaRPr lang="ru-RU" sz="1100" dirty="0" smtClean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 %</a:t>
                      </a:r>
                      <a:endParaRPr lang="ru-RU" sz="11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 %</a:t>
                      </a:r>
                    </a:p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до 01.01.2027 либо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                          до 01.01.2029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в зависимости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от объема инвестиций</a:t>
                      </a:r>
                      <a:endParaRPr lang="ru-RU" sz="1100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</a:tr>
              <a:tr h="727977">
                <a:tc rowSpan="2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3,5 %*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на срок от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1 до 4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 лет в зависимости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от объема инвестиций</a:t>
                      </a: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*действует до</a:t>
                      </a: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 01.01.2023 г.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в течение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первых 5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с 1-го по 10-й годы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9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с 11-го по 15-й годы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400" dirty="0" smtClean="0">
                        <a:effectLst/>
                        <a:latin typeface="+mn-lt"/>
                      </a:endParaRP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3,5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с 16-го года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800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10 %</a:t>
                      </a:r>
                      <a:endParaRPr lang="ru-RU" sz="1100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</a:t>
                      </a:r>
                      <a:endParaRPr lang="ru-RU" sz="11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13,5 %</a:t>
                      </a:r>
                      <a:endParaRPr lang="ru-RU" sz="800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до 01.01.2027  либо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                          до 01.01.2029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зависимости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от объема инвестиций</a:t>
                      </a:r>
                      <a:endParaRPr lang="ru-RU" sz="1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</a:tr>
              <a:tr h="594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в течение следующих 5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7012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освобождение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от 1 до 3 лет в зависимости от объема инвестиций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 %   </a:t>
                      </a:r>
                      <a:r>
                        <a:rPr lang="ru-RU" sz="11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- </a:t>
                      </a:r>
                      <a:r>
                        <a:rPr lang="ru-RU" sz="1100" dirty="0" smtClean="0">
                          <a:effectLst/>
                          <a:latin typeface="+mn-lt"/>
                        </a:rPr>
                        <a:t>в течение   </a:t>
                      </a:r>
                    </a:p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           первых 5 лет;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,1% </a:t>
                      </a:r>
                      <a:r>
                        <a:rPr lang="ru-RU" sz="11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- </a:t>
                      </a:r>
                      <a:r>
                        <a:rPr lang="ru-RU" sz="1100" dirty="0" smtClean="0">
                          <a:effectLst/>
                          <a:latin typeface="+mn-lt"/>
                        </a:rPr>
                        <a:t>с 6-го по 7-й </a:t>
                      </a:r>
                    </a:p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           годы;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,5% </a:t>
                      </a:r>
                      <a:r>
                        <a:rPr lang="ru-RU" sz="11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- </a:t>
                      </a:r>
                      <a:r>
                        <a:rPr lang="ru-RU" sz="1100" dirty="0" smtClean="0">
                          <a:effectLst/>
                          <a:latin typeface="+mn-lt"/>
                        </a:rPr>
                        <a:t>с 8-го по 10 </a:t>
                      </a:r>
                    </a:p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           годы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в течение 10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освобождение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от 1 до 3 лет в зависимости от объема инвестиций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освобождение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smtClean="0">
                          <a:effectLst/>
                          <a:latin typeface="+mn-lt"/>
                        </a:rPr>
                        <a:t>от 1 до 3 лет в зависимости от объема инвестиций</a:t>
                      </a:r>
                      <a:endParaRPr lang="ru-RU" sz="1100" dirty="0" smtClean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</a:tr>
              <a:tr h="75121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для отдельных видов транспорта в течение 10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i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</a:tr>
              <a:tr h="57809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в г. Сосенский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в течение 5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i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</a:tr>
            </a:tbl>
          </a:graphicData>
        </a:graphic>
      </p:graphicFrame>
      <p:sp>
        <p:nvSpPr>
          <p:cNvPr id="19" name="Скругленный прямоугольник 18"/>
          <p:cNvSpPr/>
          <p:nvPr/>
        </p:nvSpPr>
        <p:spPr>
          <a:xfrm>
            <a:off x="569749" y="4175211"/>
            <a:ext cx="1352768" cy="10550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лог на имущество организаций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69749" y="5293953"/>
            <a:ext cx="1352768" cy="69258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анспортный налог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9989" y="1526599"/>
            <a:ext cx="498950" cy="241147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лог на прибыль организаций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115988" y="2826512"/>
            <a:ext cx="786769" cy="1197966"/>
          </a:xfrm>
          <a:prstGeom prst="roundRect">
            <a:avLst/>
          </a:prstGeom>
          <a:solidFill>
            <a:srgbClr val="ECFBFE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гиональный бюджет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135748" y="1485028"/>
            <a:ext cx="786769" cy="1190751"/>
          </a:xfrm>
          <a:prstGeom prst="roundRect">
            <a:avLst/>
          </a:prstGeom>
          <a:solidFill>
            <a:srgbClr val="ECFBFE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едеральный бюджет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569749" y="6050213"/>
            <a:ext cx="1352768" cy="51737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емельный налог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314324" y="172522"/>
            <a:ext cx="5075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МЕРЫ ГОСУДАРСТВЕННОЙ ПОДДЕРЖКИ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891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2933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КОНТАК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-7" y="2477711"/>
            <a:ext cx="9144003" cy="234315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-3" y="247771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82086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9177559"/>
              </p:ext>
            </p:extLst>
          </p:nvPr>
        </p:nvGraphicFramePr>
        <p:xfrm>
          <a:off x="2089439" y="2681538"/>
          <a:ext cx="6610349" cy="1968116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0002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6100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2642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Инициатор проекта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лужская</a:t>
                      </a:r>
                      <a:r>
                        <a:rPr lang="ru-RU" sz="14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область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9057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Контактные  данные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Гапонова Екатерина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Руководитель</a:t>
                      </a:r>
                      <a:r>
                        <a:rPr lang="ru-RU" sz="14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направления по работе с инвесторами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ГАУ «АРРКО»</a:t>
                      </a:r>
                      <a:endParaRPr lang="ru-RU" sz="140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Тел</a:t>
                      </a:r>
                      <a:r>
                        <a:rPr lang="ru-RU" sz="1400" kern="12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US" sz="1400" kern="12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ru-RU" sz="1400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7 (915) 892 22 02</a:t>
                      </a:r>
                      <a:endParaRPr lang="ru-RU" sz="1400" kern="1200" baseline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e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-</a:t>
                      </a: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mail</a:t>
                      </a:r>
                      <a:r>
                        <a:rPr lang="en-US" sz="1400" kern="12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 </a:t>
                      </a:r>
                      <a:r>
                        <a:rPr lang="en-AU" sz="1400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g@arrko.ru</a:t>
                      </a:r>
                      <a:endParaRPr lang="ru-RU" sz="1400" kern="1200" baseline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AU" sz="140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estkaluga.com</a:t>
                      </a:r>
                      <a:r>
                        <a:rPr lang="en-AU" sz="1400" dirty="0" smtClean="0"/>
                        <a:t>/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589" y="2919190"/>
            <a:ext cx="890810" cy="89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5479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XKasBbkUyno4HtC4UC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1GIfq90EabiZXEcJwu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kGiSfSmE6HwKvhxclw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YEblKkEWxSmMS1W1X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itTwFdsUiUPjOBDWSs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y6iNPMJEmiEr0_qtNK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SSwCU00a7SIqFp7nP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LFdjAkA0e6XovsX12j.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AU3dKQdEasAUhuNBfo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tkTVwy30.hVjvC_eKG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XAl0Oc0qjH.QnI_gqG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LnDoZayUqGUoTNWF91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SBQToDfk27MU0WjAkN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hluksM8UG786FXIhVn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c5sJPnnEeWrhihNCk2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SZPHYcwkGFHotVPwAh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5f8nwfcEGhLGSoZwtM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aS.Ww2zEKOmsK2P2XG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nnHjHjjECkHby5t39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WM1rB.ckyQzBM8RKi6Eg"/>
</p:tagLst>
</file>

<file path=ppt/theme/theme1.xml><?xml version="1.0" encoding="utf-8"?>
<a:theme xmlns:a="http://schemas.openxmlformats.org/drawingml/2006/main" name="Тема Office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HeliosCond">
      <a:majorFont>
        <a:latin typeface="HeliosCond"/>
        <a:ea typeface=""/>
        <a:cs typeface=""/>
      </a:majorFont>
      <a:minorFont>
        <a:latin typeface="HeliosCond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142</TotalTime>
  <Words>885</Words>
  <Application>Microsoft Office PowerPoint</Application>
  <PresentationFormat>Экран (4:3)</PresentationFormat>
  <Paragraphs>238</Paragraphs>
  <Slides>9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</vt:lpstr>
      <vt:lpstr>_Entypo</vt:lpstr>
      <vt:lpstr>Calibri</vt:lpstr>
      <vt:lpstr>Myriad Pro Cond</vt:lpstr>
      <vt:lpstr>Times New Roman</vt:lpstr>
      <vt:lpstr>Tahoma</vt:lpstr>
      <vt:lpstr>HeliosCond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</dc:creator>
  <cp:lastModifiedBy>Симачев Дмитрий Александрович</cp:lastModifiedBy>
  <cp:revision>169</cp:revision>
  <cp:lastPrinted>2020-03-19T11:14:38Z</cp:lastPrinted>
  <dcterms:created xsi:type="dcterms:W3CDTF">2020-02-13T13:38:48Z</dcterms:created>
  <dcterms:modified xsi:type="dcterms:W3CDTF">2020-03-27T11:23:19Z</dcterms:modified>
</cp:coreProperties>
</file>